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14.xml" ContentType="application/vnd.openxmlformats-officedocument.presentationml.slideLayout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22"/>
  </p:notesMasterIdLst>
  <p:handoutMasterIdLst>
    <p:handoutMasterId r:id="rId23"/>
  </p:handoutMasterIdLst>
  <p:sldIdLst>
    <p:sldId id="407" r:id="rId4"/>
    <p:sldId id="426" r:id="rId5"/>
    <p:sldId id="428" r:id="rId6"/>
    <p:sldId id="429" r:id="rId7"/>
    <p:sldId id="430" r:id="rId8"/>
    <p:sldId id="431" r:id="rId9"/>
    <p:sldId id="432" r:id="rId10"/>
    <p:sldId id="433" r:id="rId11"/>
    <p:sldId id="434" r:id="rId12"/>
    <p:sldId id="435" r:id="rId13"/>
    <p:sldId id="436" r:id="rId14"/>
    <p:sldId id="437" r:id="rId15"/>
    <p:sldId id="438" r:id="rId16"/>
    <p:sldId id="439" r:id="rId17"/>
    <p:sldId id="424" r:id="rId18"/>
    <p:sldId id="441" r:id="rId19"/>
    <p:sldId id="425" r:id="rId20"/>
    <p:sldId id="329" r:id="rId21"/>
  </p:sldIdLst>
  <p:sldSz cx="9906000" cy="6858000" type="A4"/>
  <p:notesSz cx="6797675" cy="9874250"/>
  <p:custDataLst>
    <p:tags r:id="rId2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350" y="-30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>
            <a:lum bright="20000" contrast="-20000"/>
          </a:blip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945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77"/>
            <a:ext cx="6807651" cy="2950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1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9.png"/><Relationship Id="rId25" Type="http://schemas.openxmlformats.org/officeDocument/2006/relationships/image" Target="../media/image13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4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2.png"/><Relationship Id="rId10" Type="http://schemas.openxmlformats.org/officeDocument/2006/relationships/tags" Target="../tags/tag43.xml"/><Relationship Id="rId19" Type="http://schemas.openxmlformats.org/officeDocument/2006/relationships/image" Target="../media/image10.png"/><Relationship Id="rId4" Type="http://schemas.openxmlformats.org/officeDocument/2006/relationships/theme" Target="../theme/theme2.xml"/><Relationship Id="rId9" Type="http://schemas.openxmlformats.org/officeDocument/2006/relationships/tags" Target="../tags/tag42.xml"/><Relationship Id="rId14" Type="http://schemas.openxmlformats.org/officeDocument/2006/relationships/oleObject" Target="../embeddings/oleObject14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8.bin"/><Relationship Id="rId5" Type="http://schemas.openxmlformats.org/officeDocument/2006/relationships/vmlDrawing" Target="../drawings/vmlDrawing18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77825" y="1255714"/>
            <a:ext cx="91471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2992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RDV-03_QlikView </a:t>
            </a:r>
            <a:r>
              <a:rPr lang="en-US" sz="800" dirty="0" err="1" smtClean="0">
                <a:solidFill>
                  <a:schemeClr val="tx2"/>
                </a:solidFill>
              </a:rPr>
              <a:t>Training_V</a:t>
            </a:r>
            <a:r>
              <a:rPr lang="en-US" sz="800" dirty="0" smtClean="0">
                <a:solidFill>
                  <a:schemeClr val="tx2"/>
                </a:solidFill>
              </a:rPr>
              <a:t> 1 0</a:t>
            </a:r>
            <a:endParaRPr lang="en-US" sz="800" dirty="0" smtClean="0">
              <a:solidFill>
                <a:schemeClr val="tx2"/>
              </a:solidFill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  <p:sldLayoutId id="2147484005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77825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74649" y="5994400"/>
            <a:ext cx="5486400" cy="365760"/>
          </a:xfrm>
        </p:spPr>
        <p:txBody>
          <a:bodyPr/>
          <a:lstStyle/>
          <a:p>
            <a:pPr lvl="0"/>
            <a:r>
              <a:rPr lang="sv-SE" sz="2400" b="1" dirty="0" smtClean="0">
                <a:cs typeface="Calibri" pitchFamily="34" charset="0"/>
              </a:rPr>
              <a:t>QlikView Training </a:t>
            </a:r>
            <a:r>
              <a:rPr lang="fr-FR" sz="2400" b="1" dirty="0" smtClean="0"/>
              <a:t>– Day 7</a:t>
            </a:r>
            <a:endParaRPr lang="en-US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74649" y="5588000"/>
            <a:ext cx="5029200" cy="36576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RDV-03</a:t>
            </a:r>
            <a:endParaRPr lang="fr-FR" sz="1600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yntax</a:t>
            </a:r>
            <a:endParaRPr lang="en-US" b="1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22362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Broken down into 3 categories: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Identifier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Operator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Modifiers</a:t>
            </a:r>
            <a:endParaRPr lang="en-US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Identifier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299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Used to Identify the Records of the Set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0 - Represents an empty set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1 – Represents full set of records in the applica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$ - Represents the records of the current selec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$1 - Represents the previous selec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$_1 - Represents the next (forward) selec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Bookmark01 - Represents the bookmark ID or the bookmark 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name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Operator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1" y="1130300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efines the Operations happening between Sets (Sets are used as Operands)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UNION (+) - Returns the set of all records that belong to the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unioned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 set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INTERSECTION (*) - Returns records that belong to both of the set identifier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EXCLUSION (-) - Returns records that belong to the first but not the other of the two set identifiers. When used as UNARY Operator, returns the Complement Set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YMMETRIC DIFFERENCE (/) - Returns a set that belongs to either, but not both of the set identifier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Order of Precedence – Unary Minus, Intersection and Symmetric Difference, followed by Union and Exclusion</a:t>
            </a:r>
          </a:p>
          <a:p>
            <a:endParaRPr lang="en-US" sz="20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Modifier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30299"/>
            <a:ext cx="905256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 set can be modified by additional or changed selections. 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The modifier consists of one or several field names, each followed by selection(s) that can be made in the field.  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Modifiers begin and end with angle brackets 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&lt;&gt;.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t Analysis Examples – Demo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68300" y="1130299"/>
            <a:ext cx="9144000" cy="5120640"/>
          </a:xfrm>
          <a:prstGeom prst="rect">
            <a:avLst/>
          </a:prstGeo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sing Modifier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sing Relational Operator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sing Set Operator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sing Bookmarks and Alternate Stat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Current Selections </a:t>
            </a:r>
            <a:r>
              <a:rPr lang="en-US" sz="2000" dirty="0" err="1" smtClean="0">
                <a:solidFill>
                  <a:srgbClr val="000000"/>
                </a:solidFill>
                <a:cs typeface="Calibri" pitchFamily="34" charset="0"/>
              </a:rPr>
              <a:t>vs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 Full Set ($ </a:t>
            </a:r>
            <a:r>
              <a:rPr lang="en-US" sz="2000" dirty="0" err="1" smtClean="0">
                <a:solidFill>
                  <a:srgbClr val="000000"/>
                </a:solidFill>
                <a:cs typeface="Calibri" pitchFamily="34" charset="0"/>
              </a:rPr>
              <a:t>vs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 1)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sing Expression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Using Variabl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Rolling Time Period Using Variabl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P &amp; E 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Functions</a:t>
            </a:r>
            <a:endParaRPr lang="en-US" sz="2000" dirty="0" smtClean="0">
              <a:solidFill>
                <a:srgbClr val="000000"/>
              </a:solidFill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pPr marL="0" marR="0" lvl="0" indent="0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Calibri" pitchFamily="34" charset="0"/>
              </a:rPr>
              <a:t>QlikView Training – Day 07</a:t>
            </a:r>
            <a:endParaRPr kumimoji="0" lang="en-US" sz="28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ab Work 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69886" y="1130299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Create a Chart to show Sales Information with respect to Month Year Time Period – Chart should show rolling 4 months data at any point of time. 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Create a Chart to show the Percentage of Orders processed on time by each employee (using Set Analysis). Add a Text Box to show the percentage of number of Orders Processed by all employees all 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time</a:t>
            </a:r>
            <a:endParaRPr lang="en-US" sz="2000" dirty="0" smtClean="0">
              <a:solidFill>
                <a:srgbClr val="000000"/>
              </a:solidFill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743200"/>
            <a:ext cx="9905999" cy="13716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/>
          <a:p>
            <a:pPr marL="0" marR="0" lvl="0" indent="0" algn="ctr" defTabSz="914342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CAP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299"/>
            <a:ext cx="9144000" cy="5029200"/>
          </a:xfrm>
        </p:spPr>
        <p:txBody>
          <a:bodyPr lIns="91440" rIns="0" numCol="1"/>
          <a:lstStyle/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QVD Files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QVD Files - Advantages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Creating / Reading a QVD File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STORE Statement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BUFFER Statement 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Incremental Load / Partial </a:t>
            </a:r>
            <a:r>
              <a:rPr lang="en-IN" sz="2000" dirty="0" smtClean="0">
                <a:cs typeface="Calibri" pitchFamily="34" charset="0"/>
              </a:rPr>
              <a:t>Reload</a:t>
            </a:r>
            <a:endParaRPr lang="en-IN" sz="2000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ssion </a:t>
            </a:r>
            <a:r>
              <a:rPr lang="sv-SE" dirty="0" smtClean="0">
                <a:cs typeface="Calibri" pitchFamily="34" charset="0"/>
              </a:rPr>
              <a:t>Agenda – Day 7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299"/>
            <a:ext cx="9144000" cy="5029200"/>
          </a:xfrm>
        </p:spPr>
        <p:txBody>
          <a:bodyPr lIns="91440" rIns="0" numCol="1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QlikView Functions 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What is Set Analysis?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Why Set Analysis?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yntax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Identifier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Operator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Modifi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Function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5062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</a:rPr>
              <a:t>General Function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Num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Upper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Round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Text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IsText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If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err="1" smtClean="0">
                <a:cs typeface="Calibri" pitchFamily="34" charset="0"/>
              </a:rPr>
              <a:t>IsNum</a:t>
            </a:r>
            <a:r>
              <a:rPr lang="en-US" dirty="0" smtClean="0">
                <a:cs typeface="Calibri" pitchFamily="34" charset="0"/>
              </a:rPr>
              <a:t>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err="1" smtClean="0">
                <a:cs typeface="Calibri" pitchFamily="34" charset="0"/>
              </a:rPr>
              <a:t>IsPartialReload</a:t>
            </a:r>
            <a:endParaRPr lang="en-US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Functions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22362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sv-SE" sz="2000" dirty="0" smtClean="0">
                <a:cs typeface="Calibri" pitchFamily="34" charset="0"/>
              </a:rPr>
              <a:t>String Function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Capitalize , Upper , Lower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Chr, Ord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Index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Left, Right, Mid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Len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Ltrim, Rtrim, Trim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Repeat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Replace 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err="1" smtClean="0">
                <a:cs typeface="Calibri" pitchFamily="34" charset="0"/>
              </a:rPr>
              <a:t>Textbetween</a:t>
            </a:r>
            <a:endParaRPr lang="en-US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Functions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299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sv-SE" sz="2000" dirty="0" smtClean="0">
                <a:cs typeface="Calibri" pitchFamily="34" charset="0"/>
              </a:rPr>
              <a:t>Date and Time Function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Now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Today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MakeDate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Addmonth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MonthStart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MonthEnd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YearStart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YearEnd</a:t>
            </a:r>
          </a:p>
          <a:p>
            <a:endParaRPr lang="en-US" sz="2000" dirty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Functions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22362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sv-SE" sz="2000" dirty="0" smtClean="0">
                <a:cs typeface="Calibri" pitchFamily="34" charset="0"/>
              </a:rPr>
              <a:t>Aggregation Function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Sum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Min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Max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Only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Concat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</a:rPr>
              <a:t>Count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err="1" smtClean="0">
                <a:cs typeface="Calibri" pitchFamily="34" charset="0"/>
              </a:rPr>
              <a:t>Avg</a:t>
            </a:r>
            <a:endParaRPr lang="en-US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What is Set Analysis?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122048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n Opportunity to access all loaded data in a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QlikView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 Document at any time, regardless of Selection State (</a:t>
            </a:r>
            <a:r>
              <a:rPr lang="en-US" sz="2000" dirty="0" smtClean="0">
                <a:cs typeface="Calibri" pitchFamily="34" charset="0"/>
              </a:rPr>
              <a:t>Listens to Selections Not Done)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</a:rPr>
              <a:t>Provides a method of defining groups (sets) of information that are independent of the current sele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</a:rPr>
              <a:t>Can create sets based on other sets.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</a:rPr>
              <a:t>Must be used with aggregation functions.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</a:rPr>
              <a:t>Always begin and end with curly brackets </a:t>
            </a:r>
            <a:r>
              <a:rPr lang="en-US" sz="2000" dirty="0" smtClean="0">
                <a:cs typeface="Calibri" pitchFamily="34" charset="0"/>
              </a:rPr>
              <a:t>{}</a:t>
            </a:r>
            <a:endParaRPr lang="en-US" sz="2000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Why Set Analysis?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17599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Very powerful functionality for comparison analysis. 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This year vs. last year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Products purchased vs. </a:t>
            </a:r>
            <a:r>
              <a:rPr lang="en-US" dirty="0" smtClean="0">
                <a:cs typeface="Calibri" pitchFamily="34" charset="0"/>
                <a:sym typeface="Wingdings" pitchFamily="2" charset="2"/>
              </a:rPr>
              <a:t>not </a:t>
            </a:r>
            <a:r>
              <a:rPr lang="en-US" dirty="0" smtClean="0">
                <a:cs typeface="Calibri" pitchFamily="34" charset="0"/>
                <a:sym typeface="Wingdings" pitchFamily="2" charset="2"/>
              </a:rPr>
              <a:t>purchased</a:t>
            </a:r>
            <a:endParaRPr lang="en-US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May eliminate the need for additional, complex coding within an application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No need for data islands  (but data islands sometimes useful in conjunction with sets)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Reduces the need for </a:t>
            </a:r>
            <a:r>
              <a:rPr lang="en-US" dirty="0" smtClean="0">
                <a:cs typeface="Calibri" pitchFamily="34" charset="0"/>
                <a:sym typeface="Wingdings" pitchFamily="2" charset="2"/>
              </a:rPr>
              <a:t>macros</a:t>
            </a:r>
            <a:endParaRPr lang="en-US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Provides much more flexibility in the analysis’ you can create</a:t>
            </a:r>
          </a:p>
          <a:p>
            <a:pPr marL="457200" lvl="2" indent="-182880">
              <a:lnSpc>
                <a:spcPct val="150000"/>
              </a:lnSpc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Expressions can be added for data outside of your current selection </a:t>
            </a:r>
            <a:r>
              <a:rPr lang="en-US" dirty="0" smtClean="0">
                <a:cs typeface="Calibri" pitchFamily="34" charset="0"/>
                <a:sym typeface="Wingdings" pitchFamily="2" charset="2"/>
              </a:rPr>
              <a:t>criteria</a:t>
            </a:r>
            <a:endParaRPr lang="en-US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421</TotalTime>
  <Words>627</Words>
  <Application>Microsoft Office PowerPoint</Application>
  <PresentationFormat>A4 Paper (210x297 mm)</PresentationFormat>
  <Paragraphs>122</Paragraphs>
  <Slides>18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RECAP</vt:lpstr>
      <vt:lpstr>Session Agenda – Day 7</vt:lpstr>
      <vt:lpstr>QlikView Functions</vt:lpstr>
      <vt:lpstr>QlikView Functions (contd)</vt:lpstr>
      <vt:lpstr>QlikView Functions (contd)</vt:lpstr>
      <vt:lpstr>QlikView Functions (contd)</vt:lpstr>
      <vt:lpstr>What is Set Analysis?</vt:lpstr>
      <vt:lpstr>Why Set Analysis?</vt:lpstr>
      <vt:lpstr>Syntax</vt:lpstr>
      <vt:lpstr>Identifiers</vt:lpstr>
      <vt:lpstr>Operators</vt:lpstr>
      <vt:lpstr>Modifiers</vt:lpstr>
      <vt:lpstr>Set Analysis Examples – Demo</vt:lpstr>
      <vt:lpstr>Q &amp; A</vt:lpstr>
      <vt:lpstr>Lab Work </vt:lpstr>
      <vt:lpstr>Slide 17</vt:lpstr>
      <vt:lpstr>Slide 1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svaikunt</cp:lastModifiedBy>
  <cp:revision>64</cp:revision>
  <dcterms:created xsi:type="dcterms:W3CDTF">2015-07-10T14:05:09Z</dcterms:created>
  <dcterms:modified xsi:type="dcterms:W3CDTF">2015-08-31T10:20:51Z</dcterms:modified>
</cp:coreProperties>
</file>